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ov" ContentType="video/quicktime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7" r:id="rId2"/>
  </p:sldMasterIdLst>
  <p:notesMasterIdLst>
    <p:notesMasterId r:id="rId4"/>
  </p:notesMasterIdLst>
  <p:sldIdLst>
    <p:sldId id="283" r:id="rId3"/>
  </p:sldIdLst>
  <p:sldSz cx="12195175" cy="6859588"/>
  <p:notesSz cx="6858000" cy="91440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A0"/>
    <a:srgbClr val="0000FF"/>
    <a:srgbClr val="E5F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1-2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999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CE95415F-4583-7209-7A13-9E1CD53E4457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7081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9553" y="0"/>
            <a:ext cx="4010400" cy="6859588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7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2613" y="360084"/>
            <a:ext cx="3052800" cy="720000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91" indent="0">
              <a:buNone/>
              <a:defRPr b="1">
                <a:latin typeface="+mj-lt"/>
              </a:defRPr>
            </a:lvl2pPr>
            <a:lvl3pPr marL="514382" indent="0">
              <a:buNone/>
              <a:defRPr b="1">
                <a:latin typeface="+mj-lt"/>
              </a:defRPr>
            </a:lvl3pPr>
            <a:lvl4pPr marL="771574" indent="0">
              <a:buNone/>
              <a:defRPr b="1">
                <a:latin typeface="+mj-lt"/>
              </a:defRPr>
            </a:lvl4pPr>
            <a:lvl5pPr marL="1028765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182879" cy="6859587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3252" y="360000"/>
            <a:ext cx="3052747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1059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60000"/>
            <a:ext cx="7200000" cy="972000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4845" y="941098"/>
            <a:ext cx="5232032" cy="5299513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FB7A02DC-C34D-9C9B-6CE9-832BF235B54B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7890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60000"/>
            <a:ext cx="7200000" cy="972000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617260"/>
            <a:ext cx="8402188" cy="1842446"/>
          </a:xfrm>
        </p:spPr>
        <p:txBody>
          <a:bodyPr anchor="b" anchorCtr="0">
            <a:noAutofit/>
          </a:bodyPr>
          <a:lstStyle>
            <a:lvl1pPr algn="ctr">
              <a:defRPr sz="4000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3695879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09743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80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1301642"/>
          </a:xfrm>
        </p:spPr>
        <p:txBody>
          <a:bodyPr/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761403"/>
            <a:ext cx="543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4299045"/>
            <a:ext cx="5436000" cy="82568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9C78D250-5250-69CE-D117-F4F588675F43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BAFD68E-0C6A-0C2E-927D-9A39A4E85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7913F04-D00F-8EBE-05F7-92EA84AF85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F89E51F-915F-86CD-BBF3-1EFB1D0E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16B57-C631-344C-A451-8BAFA89D3B5B}" type="datetimeFigureOut">
              <a:rPr lang="pl-PL" smtClean="0"/>
              <a:t>29.01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E6018F8-58FD-5AFD-D817-77916D124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74B27547-9FF2-FFEE-9A5A-F9043C06B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24008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A350D2-E265-48FF-8A18-B8E72C202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A350D2-E265-48FF-8A18-B8E72C202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50221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9" y="2854326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54857424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1A426D-F960-45C6-A75C-7CA45CBC9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A1A426D-F960-45C6-A75C-7CA45CBC9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2667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8BB6FA-5B0D-47C6-B132-99204A2F2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8BB6FA-5B0D-47C6-B132-99204A2F2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332001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746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5174" cy="6859587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AA0C9813-7F76-32AC-AEFF-1C7A7D0E03B0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438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EAF30B-C6FE-419F-9DDD-2F7C8F749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EAF30B-C6FE-419F-9DDD-2F7C8F749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4205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4EE704-CBAE-40D3-99B9-2F6866CE5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4EE704-CBAE-40D3-99B9-2F6866CE5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113466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AC24A-6007-4B76-A5C1-8CC8F1FCC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AC24A-6007-4B76-A5C1-8CC8F1FCC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77642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6282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A3C16D-C06E-450C-B5DA-7A45EA7F6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A3C16D-C06E-450C-B5DA-7A45EA7F6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1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3879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BE3B95-736E-483D-A653-F3B2C00695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BE3B95-736E-483D-A653-F3B2C006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32439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7D95EF-9A2C-40BF-AAE0-793234876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7D95EF-9A2C-40BF-AAE0-793234876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1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1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85373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31FF3E-3061-4CE9-B026-F21D03D00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31FF3E-3061-4CE9-B026-F21D03D00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1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41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98B58E-0E95-4E82-9C08-23A34C110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98B58E-0E95-4E82-9C08-23A34C110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1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1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87862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B65CAA-4762-431A-B2E2-8A3916054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B65CAA-4762-431A-B2E2-8A3916054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333450"/>
            <a:ext cx="7200000" cy="1009078"/>
          </a:xfrm>
        </p:spPr>
        <p:txBody>
          <a:bodyPr vert="horz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7617830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959540"/>
            <a:ext cx="7200000" cy="6179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602855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080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332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4000" cy="4911479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4400" y="2552400"/>
            <a:ext cx="2391674" cy="2739988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D585B6D-CABE-5C63-D893-BD24D22C24BC}"/>
              </a:ext>
            </a:extLst>
          </p:cNvPr>
          <p:cNvSpPr>
            <a:spLocks noChangeAspect="1"/>
          </p:cNvSpPr>
          <p:nvPr userDrawn="1"/>
        </p:nvSpPr>
        <p:spPr>
          <a:xfrm>
            <a:off x="10277295" y="615212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5ADCA-DB62-4D50-8CF9-6D486E281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5ADCA-DB62-4D50-8CF9-6D486E281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1642604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84C83E-E7F2-4A41-A3AF-EB7BF0D89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84C83E-E7F2-4A41-A3AF-EB7BF0D89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69323435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E29782-9344-48E9-BA59-745DEA608E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E29782-9344-48E9-BA59-745DEA608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23444802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4ED41B-56CC-40E3-8C15-ED52415C3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4ED41B-56CC-40E3-8C15-ED52415C3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83756"/>
            <a:ext cx="7200000" cy="62685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93923097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8F5776-DCF7-42E0-A50E-57F9866A4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8F5776-DCF7-42E0-A50E-57F9866A4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75994"/>
            <a:ext cx="7200000" cy="634612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61571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EFCC13-8B1A-4F82-BD77-9D33BEC25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EFCC13-8B1A-4F82-BD77-9D33BEC25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7"/>
            <a:ext cx="8402188" cy="999458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accent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342783852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2A8E87-1C5F-40F4-B2AE-214A3B4C4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2A8E87-1C5F-40F4-B2AE-214A3B4C4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tx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257559429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E43D5-A05A-41D5-AF2A-4CC6E5568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E43D5-A05A-41D5-AF2A-4CC6E5568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6"/>
            <a:ext cx="6864086" cy="2268744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76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8059BD-90CE-4BF2-904B-E663F3470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8059BD-90CE-4BF2-904B-E663F3470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1606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AE00A3-BEB7-431D-B6EC-06131D947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AE00A3-BEB7-431D-B6EC-06131D947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1" y="3348039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190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5AEACD09-CC44-73F8-6ED2-850F1EDE1E32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260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10C19B-0612-48C5-BAEB-8DC9E97E7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10C19B-0612-48C5-BAEB-8DC9E97E7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95474"/>
          </a:xfrm>
        </p:spPr>
        <p:txBody>
          <a:bodyPr vert="horz"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1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4692130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B87C5F-D638-4BFA-8B71-57701A0B4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B87C5F-D638-4BFA-8B71-57701A0B4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0"/>
            <a:ext cx="7200000" cy="795600"/>
          </a:xfrm>
        </p:spPr>
        <p:txBody>
          <a:bodyPr vert="horz"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172154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C2A71EDC-2551-EC09-7272-3FECA9FF063A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60083"/>
            <a:ext cx="7200000" cy="72016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0143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348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9CE3F7C7-EF19-BC00-AC41-3117286E2BD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53" r:id="rId2"/>
    <p:sldLayoutId id="2147483755" r:id="rId3"/>
    <p:sldLayoutId id="2147483730" r:id="rId4"/>
    <p:sldLayoutId id="2147483752" r:id="rId5"/>
    <p:sldLayoutId id="2147483728" r:id="rId6"/>
    <p:sldLayoutId id="2147483748" r:id="rId7"/>
    <p:sldLayoutId id="2147483650" r:id="rId8"/>
    <p:sldLayoutId id="2147483749" r:id="rId9"/>
    <p:sldLayoutId id="2147483750" r:id="rId10"/>
    <p:sldLayoutId id="2147483737" r:id="rId11"/>
    <p:sldLayoutId id="2147483652" r:id="rId12"/>
    <p:sldLayoutId id="2147483738" r:id="rId13"/>
    <p:sldLayoutId id="2147483663" r:id="rId14"/>
    <p:sldLayoutId id="2147483655" r:id="rId15"/>
    <p:sldLayoutId id="2147483751" r:id="rId16"/>
    <p:sldLayoutId id="2147483742" r:id="rId17"/>
    <p:sldLayoutId id="2147483660" r:id="rId18"/>
    <p:sldLayoutId id="2147483724" r:id="rId19"/>
    <p:sldLayoutId id="2147483725" r:id="rId20"/>
    <p:sldLayoutId id="2147483735" r:id="rId21"/>
    <p:sldLayoutId id="2147483743" r:id="rId22"/>
    <p:sldLayoutId id="2147483741" r:id="rId23"/>
    <p:sldLayoutId id="2147483747" r:id="rId24"/>
    <p:sldLayoutId id="2147483733" r:id="rId25"/>
    <p:sldLayoutId id="2147483756" r:id="rId26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5" orient="horz" pos="224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orient="horz" pos="836" userDrawn="1">
          <p15:clr>
            <a:srgbClr val="F26B43"/>
          </p15:clr>
        </p15:guide>
        <p15:guide id="8" orient="horz" pos="36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85F86F-9441-419A-9890-FC95F4DD7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85F86F-9441-419A-9890-FC95F4DD7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1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9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612DBAD8-C389-4EAD-9D02-BEB21DE29F0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3" cy="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6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</p:sldLayoutIdLst>
  <p:hf hdr="0" ftr="0" dt="0"/>
  <p:txStyles>
    <p:titleStyle>
      <a:lvl1pPr algn="l" defTabSz="1088667" rtl="0" eaLnBrk="1" latinLnBrk="0" hangingPunct="1">
        <a:spcBef>
          <a:spcPct val="0"/>
        </a:spcBef>
        <a:buNone/>
        <a:defRPr sz="1999" b="1" kern="1200">
          <a:solidFill>
            <a:schemeClr val="tx2"/>
          </a:solidFill>
          <a:latin typeface="Nordea Sans Large Black" panose="00000A00000000000000" pitchFamily="50" charset="0"/>
          <a:ea typeface="+mj-ea"/>
          <a:cs typeface="+mj-cs"/>
        </a:defRPr>
      </a:lvl1pPr>
    </p:titleStyle>
    <p:bodyStyle>
      <a:lvl1pPr marL="215465" indent="-215465" algn="l" defTabSz="1088667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1pPr>
      <a:lvl2pPr marL="471470" indent="-214305" algn="l" defTabSz="1088667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2pPr>
      <a:lvl3pPr marL="728635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3pPr>
      <a:lvl4pPr marL="985801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4pPr>
      <a:lvl5pPr marL="1242967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5pPr>
      <a:lvl6pPr marL="2993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8167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2501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6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335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4668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936DCF3-4A4C-DA72-2157-9626122D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 co możemy teraz</a:t>
            </a:r>
          </a:p>
        </p:txBody>
      </p:sp>
      <p:pic>
        <p:nvPicPr>
          <p:cNvPr id="4" name="Nagranie_soap.mov">
            <a:hlinkClick r:id="" action="ppaction://media"/>
            <a:extLst>
              <a:ext uri="{FF2B5EF4-FFF2-40B4-BE49-F238E27FC236}">
                <a16:creationId xmlns:a16="http://schemas.microsoft.com/office/drawing/2014/main" id="{F329DB39-9266-2611-510A-73EB4BC136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570" y="1407726"/>
            <a:ext cx="10813572" cy="48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04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83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2_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4</TotalTime>
  <Words>4</Words>
  <Application>Microsoft Office PowerPoint</Application>
  <PresentationFormat>Custom</PresentationFormat>
  <Paragraphs>1</Paragraphs>
  <Slides>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Nordea Sans Large Black</vt:lpstr>
      <vt:lpstr>Nordea Sans Small</vt:lpstr>
      <vt:lpstr>Nordea</vt:lpstr>
      <vt:lpstr>2_Nordea</vt:lpstr>
      <vt:lpstr>think-cell Slide</vt:lpstr>
      <vt:lpstr>A co możemy teraz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pt Engineering</dc:title>
  <dc:creator>Gajda Jakub</dc:creator>
  <cp:lastModifiedBy>Gajda Jakub</cp:lastModifiedBy>
  <cp:revision>6</cp:revision>
  <dcterms:created xsi:type="dcterms:W3CDTF">2016-03-23T08:04:09Z</dcterms:created>
  <dcterms:modified xsi:type="dcterms:W3CDTF">2024-01-29T08:4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ec17ee5-d002-416f-a486-c5f1fad2d957_Enabled">
    <vt:lpwstr>true</vt:lpwstr>
  </property>
  <property fmtid="{D5CDD505-2E9C-101B-9397-08002B2CF9AE}" pid="3" name="MSIP_Label_5ec17ee5-d002-416f-a486-c5f1fad2d957_SetDate">
    <vt:lpwstr>2023-10-23T07:59:23Z</vt:lpwstr>
  </property>
  <property fmtid="{D5CDD505-2E9C-101B-9397-08002B2CF9AE}" pid="4" name="MSIP_Label_5ec17ee5-d002-416f-a486-c5f1fad2d957_Method">
    <vt:lpwstr>Privileged</vt:lpwstr>
  </property>
  <property fmtid="{D5CDD505-2E9C-101B-9397-08002B2CF9AE}" pid="5" name="MSIP_Label_5ec17ee5-d002-416f-a486-c5f1fad2d957_Name">
    <vt:lpwstr>Open</vt:lpwstr>
  </property>
  <property fmtid="{D5CDD505-2E9C-101B-9397-08002B2CF9AE}" pid="6" name="MSIP_Label_5ec17ee5-d002-416f-a486-c5f1fad2d957_SiteId">
    <vt:lpwstr>8beccd60-0be6-4025-8e24-ca9ae679e1f4</vt:lpwstr>
  </property>
  <property fmtid="{D5CDD505-2E9C-101B-9397-08002B2CF9AE}" pid="7" name="MSIP_Label_5ec17ee5-d002-416f-a486-c5f1fad2d957_ActionId">
    <vt:lpwstr>cc834f05-9580-4e0d-981d-6989eb507cbf</vt:lpwstr>
  </property>
  <property fmtid="{D5CDD505-2E9C-101B-9397-08002B2CF9AE}" pid="8" name="MSIP_Label_5ec17ee5-d002-416f-a486-c5f1fad2d957_ContentBits">
    <vt:lpwstr>0</vt:lpwstr>
  </property>
</Properties>
</file>